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EE0F48-C079-4995-93F8-DB207E745459}" v="8" dt="2022-11-17T15:57:35.0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36" autoAdjust="0"/>
    <p:restoredTop sz="94660"/>
  </p:normalViewPr>
  <p:slideViewPr>
    <p:cSldViewPr snapToGrid="0">
      <p:cViewPr varScale="1">
        <p:scale>
          <a:sx n="78" d="100"/>
          <a:sy n="78" d="100"/>
        </p:scale>
        <p:origin x="1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5/10/relationships/revisionInfo" Target="revisionInfo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693" y="1769540"/>
            <a:ext cx="9440034" cy="182880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693" y="3773489"/>
            <a:ext cx="9440034" cy="1049867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38747-4367-4BD2-8D51-C97E202738E2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307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late-V2-HD-panoPhotoInset.png">
            <a:extLst>
              <a:ext uri="{FF2B5EF4-FFF2-40B4-BE49-F238E27FC236}">
                <a16:creationId xmlns:a16="http://schemas.microsoft.com/office/drawing/2014/main" id="{CE39118B-B3AD-4BD4-BA22-DEFF4E76CE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83" y="547807"/>
            <a:ext cx="10141799" cy="38168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565255"/>
            <a:ext cx="10355326" cy="543472"/>
          </a:xfrm>
        </p:spPr>
        <p:txBody>
          <a:bodyPr anchor="b"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69349" y="695009"/>
            <a:ext cx="9845346" cy="3525671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247728"/>
            <a:ext cx="10353762" cy="543472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B079-7EF0-44EE-B798-BCC497C9F3B2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216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8437"/>
            <a:ext cx="10353762" cy="3534344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95180"/>
            <a:ext cx="10353763" cy="150182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F70A8-1D13-4657-95F0-A9EA54967B8D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194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32749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304353"/>
            <a:ext cx="10353763" cy="148949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B90AC-71BD-4C7F-8ACA-7B3F18292E63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3F0D53-0705-41B7-8554-09D21E7807F9}"/>
              </a:ext>
            </a:extLst>
          </p:cNvPr>
          <p:cNvSpPr txBox="1"/>
          <p:nvPr/>
        </p:nvSpPr>
        <p:spPr>
          <a:xfrm>
            <a:off x="990600" y="88479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F647CD-0F1A-4BB3-89E0-A74F1E1B098D}"/>
              </a:ext>
            </a:extLst>
          </p:cNvPr>
          <p:cNvSpPr txBox="1"/>
          <p:nvPr/>
        </p:nvSpPr>
        <p:spPr>
          <a:xfrm>
            <a:off x="10504716" y="292825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557865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2126942"/>
            <a:ext cx="10353763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84" y="4650556"/>
            <a:ext cx="10352199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EFC2C-8905-46F0-B443-CE905B76BA01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6006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5" y="1885950"/>
            <a:ext cx="3300984" cy="76478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5" y="2768112"/>
            <a:ext cx="3300984" cy="302308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6711" y="1885949"/>
            <a:ext cx="3300984" cy="764783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435" y="2768112"/>
            <a:ext cx="3300984" cy="302308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572" y="1885950"/>
            <a:ext cx="3300984" cy="76478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66572" y="2768110"/>
            <a:ext cx="3300984" cy="302308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79DC3-C9B5-499E-9140-0DC28B7074E2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6086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ate-V2-HD-3colPhotoInset.png">
            <a:extLst>
              <a:ext uri="{FF2B5EF4-FFF2-40B4-BE49-F238E27FC236}">
                <a16:creationId xmlns:a16="http://schemas.microsoft.com/office/drawing/2014/main" id="{7E87C569-D426-4615-ADA7-B370EA9834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2" y="1818214"/>
            <a:ext cx="3339972" cy="1847851"/>
          </a:xfrm>
          <a:prstGeom prst="rect">
            <a:avLst/>
          </a:prstGeom>
        </p:spPr>
      </p:pic>
      <p:pic>
        <p:nvPicPr>
          <p:cNvPr id="36" name="Picture 35" descr="Slate-V2-HD-3colPhotoInset.png">
            <a:extLst>
              <a:ext uri="{FF2B5EF4-FFF2-40B4-BE49-F238E27FC236}">
                <a16:creationId xmlns:a16="http://schemas.microsoft.com/office/drawing/2014/main" id="{7B353ED4-7AD0-46C9-88ED-1A16B1433A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3800" y="1818214"/>
            <a:ext cx="3339972" cy="1847851"/>
          </a:xfrm>
          <a:prstGeom prst="rect">
            <a:avLst/>
          </a:prstGeom>
        </p:spPr>
      </p:pic>
      <p:pic>
        <p:nvPicPr>
          <p:cNvPr id="37" name="Picture 36" descr="Slate-V2-HD-3colPhotoInset.png">
            <a:extLst>
              <a:ext uri="{FF2B5EF4-FFF2-40B4-BE49-F238E27FC236}">
                <a16:creationId xmlns:a16="http://schemas.microsoft.com/office/drawing/2014/main" id="{F561D985-AD57-459A-B3A6-EBF296039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51" y="1818214"/>
            <a:ext cx="3339972" cy="1847851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3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8102" y="1938918"/>
            <a:ext cx="3092368" cy="160295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572443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88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45743" y="1939094"/>
            <a:ext cx="3092368" cy="160816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435" y="4572442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697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75698" y="1934432"/>
            <a:ext cx="3092368" cy="160729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66572" y="4572442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B33EA-E472-4D22-9C03-A9C14AA21CED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6646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E833E-1B6D-415F-AD29-75AE8C43BD0D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7349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83068" y="609599"/>
            <a:ext cx="228448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6" y="609599"/>
            <a:ext cx="7916872" cy="5181601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2596F-08A7-4B70-989A-F2B1CF31E66B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569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55A3C-5767-4844-A0A3-83778C2E5409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188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1761067"/>
            <a:ext cx="9590550" cy="1828813"/>
          </a:xfrm>
        </p:spPr>
        <p:txBody>
          <a:bodyPr anchor="b"/>
          <a:lstStyle>
            <a:lvl1pPr algn="ct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3763439"/>
            <a:ext cx="9590550" cy="1333494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507A8-A5CF-4D38-AB86-7EDDA87A85D4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045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2618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2076450"/>
            <a:ext cx="4856841" cy="3622671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0716" y="2076451"/>
            <a:ext cx="4856841" cy="3622672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CD27C-8599-43EF-BA1D-14DDC1946E06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245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Slate-V2-HD-compPhotoInset.png">
            <a:extLst>
              <a:ext uri="{FF2B5EF4-FFF2-40B4-BE49-F238E27FC236}">
                <a16:creationId xmlns:a16="http://schemas.microsoft.com/office/drawing/2014/main" id="{37B721FF-D609-4D98-9D19-CF75AA8A5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95" y="1734506"/>
            <a:ext cx="5029200" cy="4099959"/>
          </a:xfrm>
          <a:prstGeom prst="rect">
            <a:avLst/>
          </a:prstGeom>
        </p:spPr>
      </p:pic>
      <p:pic>
        <p:nvPicPr>
          <p:cNvPr id="21" name="Picture 20" descr="Slate-V2-HD-compPhotoInset.png">
            <a:extLst>
              <a:ext uri="{FF2B5EF4-FFF2-40B4-BE49-F238E27FC236}">
                <a16:creationId xmlns:a16="http://schemas.microsoft.com/office/drawing/2014/main" id="{073936BD-C868-433F-8E84-D6DD8E640E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357" y="1734506"/>
            <a:ext cx="5029200" cy="40999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6013" y="1855153"/>
            <a:ext cx="4764764" cy="692494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6013" y="2702103"/>
            <a:ext cx="4764764" cy="304353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3166" y="1855152"/>
            <a:ext cx="4779582" cy="69249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3167" y="2702103"/>
            <a:ext cx="4779581" cy="304353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43D99-809A-49C0-96E5-4250D0B498EE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019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3DE9B-B678-4EFB-BB7D-A4370204A0B0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033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812DA-F765-4142-A6A3-A8ED7235E082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6426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3706889" cy="1821918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633" y="609600"/>
            <a:ext cx="6411924" cy="508000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673351"/>
            <a:ext cx="3706889" cy="301625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77FD-7DE6-41D4-930D-AC99F5AFE54E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916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late-V2-HD-vertPhotoInset.png">
            <a:extLst>
              <a:ext uri="{FF2B5EF4-FFF2-40B4-BE49-F238E27FC236}">
                <a16:creationId xmlns:a16="http://schemas.microsoft.com/office/drawing/2014/main" id="{4D06E496-ACBA-4063-B4A1-C5C484EE5A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5" y="609600"/>
            <a:ext cx="3584166" cy="52048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763701"/>
            <a:ext cx="5707899" cy="1675559"/>
          </a:xfrm>
        </p:spPr>
        <p:txBody>
          <a:bodyPr anchor="b">
            <a:noAutofit/>
          </a:bodyPr>
          <a:lstStyle>
            <a:lvl1pPr algn="ctr"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42551" y="763702"/>
            <a:ext cx="3275751" cy="4912822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73698" y="2679699"/>
            <a:ext cx="4588094" cy="3135695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15526-7079-4B7B-987C-1B5FAE11A0FF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546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D892B1-B075-42DF-B040-4280976949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5440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D892B1-B075-42DF-B040-428097694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25730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2076450"/>
            <a:ext cx="10353762" cy="3714749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60007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073ED0CC-082F-4160-86E5-0D6041F12778}" type="datetime1">
              <a:rPr lang="en-US" smtClean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5" y="6000749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6000749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2514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5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sldNum="0"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sz="4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j-lt"/>
          <a:ea typeface="+mj-ea"/>
          <a:cs typeface="Trebuchet M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0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2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1pPr>
      <a:lvl2pPr marL="720000" indent="-270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8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2pPr>
      <a:lvl3pPr marL="10260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3pPr>
      <a:lvl4pPr marL="13860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4pPr>
      <a:lvl5pPr marL="16740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5pPr>
      <a:lvl6pPr marL="20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6pPr>
      <a:lvl7pPr marL="240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7pPr>
      <a:lvl8pPr marL="278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8pPr>
      <a:lvl9pPr marL="310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8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duotone>
              <a:schemeClr val="bg1">
                <a:shade val="80000"/>
                <a:lumMod val="80000"/>
              </a:schemeClr>
              <a:schemeClr val="bg1">
                <a:tint val="98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20805A-EBB8-4509-83DE-33E97F82E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14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20805A-EBB8-4509-83DE-33E97F82E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D32A07D-C646-4CC0-BA93-76707E707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EB4D0D-F8B3-4656-B289-08905F3B0F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37703" y="835383"/>
            <a:ext cx="4091802" cy="3499549"/>
          </a:xfrm>
        </p:spPr>
        <p:txBody>
          <a:bodyPr vert="horz">
            <a:normAutofit/>
          </a:bodyPr>
          <a:lstStyle/>
          <a:p>
            <a:pPr algn="l"/>
            <a:r>
              <a:rPr lang="en-US" sz="4200" b="1" dirty="0"/>
              <a:t>Mid-Bootcamp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17D70B-E805-4751-BE17-C663808C95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37454" y="4334933"/>
            <a:ext cx="4091803" cy="1185333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D55B17"/>
                </a:solidFill>
              </a:rPr>
              <a:t>Case study: Regression</a:t>
            </a:r>
          </a:p>
          <a:p>
            <a:pPr algn="l"/>
            <a:r>
              <a:rPr lang="en-US" dirty="0">
                <a:solidFill>
                  <a:srgbClr val="D55B17"/>
                </a:solidFill>
              </a:rPr>
              <a:t>Joan </a:t>
            </a:r>
            <a:r>
              <a:rPr lang="en-US" dirty="0" err="1">
                <a:solidFill>
                  <a:srgbClr val="D55B17"/>
                </a:solidFill>
              </a:rPr>
              <a:t>Viladomiu</a:t>
            </a:r>
            <a:r>
              <a:rPr lang="en-US" dirty="0">
                <a:solidFill>
                  <a:srgbClr val="D55B17"/>
                </a:solidFill>
              </a:rPr>
              <a:t> &amp; Enric Mus</a:t>
            </a:r>
          </a:p>
        </p:txBody>
      </p:sp>
      <p:pic>
        <p:nvPicPr>
          <p:cNvPr id="4" name="Picture 3" descr="The colorful explosion of powder on a black background">
            <a:extLst>
              <a:ext uri="{FF2B5EF4-FFF2-40B4-BE49-F238E27FC236}">
                <a16:creationId xmlns:a16="http://schemas.microsoft.com/office/drawing/2014/main" id="{ED826D1A-25CA-1686-8915-690513C6ECC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9732" r="6902" b="-1"/>
          <a:stretch/>
        </p:blipFill>
        <p:spPr>
          <a:xfrm>
            <a:off x="-1" y="10"/>
            <a:ext cx="7537704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5398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B8642B7-DC06-4362-8366-64FC3DE4D2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9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B8642B7-DC06-4362-8366-64FC3DE4D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0372D-7E98-40D0-9F5A-DA076C8EC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dirty="0"/>
              <a:t>Diagrama de Gantt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B91FFB50-2EEF-4A89-A2DF-7F428444E2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689550"/>
              </p:ext>
            </p:extLst>
          </p:nvPr>
        </p:nvGraphicFramePr>
        <p:xfrm>
          <a:off x="913796" y="2003366"/>
          <a:ext cx="10353764" cy="402096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37469">
                  <a:extLst>
                    <a:ext uri="{9D8B030D-6E8A-4147-A177-3AD203B41FA5}">
                      <a16:colId xmlns:a16="http://schemas.microsoft.com/office/drawing/2014/main" val="2313501743"/>
                    </a:ext>
                  </a:extLst>
                </a:gridCol>
                <a:gridCol w="1884107">
                  <a:extLst>
                    <a:ext uri="{9D8B030D-6E8A-4147-A177-3AD203B41FA5}">
                      <a16:colId xmlns:a16="http://schemas.microsoft.com/office/drawing/2014/main" val="3696249507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2081789454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2778933283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1509565459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2667494189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3088948440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3989045809"/>
                    </a:ext>
                  </a:extLst>
                </a:gridCol>
              </a:tblGrid>
              <a:tr h="534411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 dirty="0" err="1"/>
                        <a:t>Question</a:t>
                      </a:r>
                      <a:r>
                        <a:rPr lang="es-ES" dirty="0"/>
                        <a:t> </a:t>
                      </a:r>
                      <a:r>
                        <a:rPr lang="es-ES" dirty="0" err="1"/>
                        <a:t>number</a:t>
                      </a:r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1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2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3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4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5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6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644855"/>
                  </a:ext>
                </a:extLst>
              </a:tr>
              <a:tr h="534411">
                <a:tc rowSpan="2">
                  <a:txBody>
                    <a:bodyPr/>
                    <a:lstStyle/>
                    <a:p>
                      <a:pPr algn="ctr"/>
                      <a:r>
                        <a:rPr lang="es-ES" sz="1600"/>
                        <a:t>Sql Questions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200" dirty="0"/>
                        <a:t>1-10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946517"/>
                  </a:ext>
                </a:extLst>
              </a:tr>
              <a:tr h="534411">
                <a:tc v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200" dirty="0"/>
                        <a:t>11-17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3587384"/>
                  </a:ext>
                </a:extLst>
              </a:tr>
              <a:tr h="656154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err="1"/>
                        <a:t>PowerBi</a:t>
                      </a:r>
                      <a:r>
                        <a:rPr lang="es-ES" sz="1600" dirty="0"/>
                        <a:t> </a:t>
                      </a:r>
                      <a:r>
                        <a:rPr lang="es-ES" sz="1600" dirty="0" err="1"/>
                        <a:t>Questions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/>
                        <a:t>1-10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684051"/>
                  </a:ext>
                </a:extLst>
              </a:tr>
              <a:tr h="587085">
                <a:tc rowSpan="2">
                  <a:txBody>
                    <a:bodyPr/>
                    <a:lstStyle/>
                    <a:p>
                      <a:pPr algn="ctr"/>
                      <a:r>
                        <a:rPr lang="es-ES" sz="1600"/>
                        <a:t>Python regression model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/>
                        <a:t>1-5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0916482"/>
                  </a:ext>
                </a:extLst>
              </a:tr>
              <a:tr h="534411">
                <a:tc vMerge="1"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/>
                        <a:t>5-10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7812131"/>
                  </a:ext>
                </a:extLst>
              </a:tr>
              <a:tr h="53441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err="1"/>
                        <a:t>Presentation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058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6891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lateVTI">
  <a:themeElements>
    <a:clrScheme name="AnalogousFromRegularSeed_2SEEDS">
      <a:dk1>
        <a:srgbClr val="000000"/>
      </a:dk1>
      <a:lt1>
        <a:srgbClr val="FFFFFF"/>
      </a:lt1>
      <a:dk2>
        <a:srgbClr val="32271C"/>
      </a:dk2>
      <a:lt2>
        <a:srgbClr val="F0F2F3"/>
      </a:lt2>
      <a:accent1>
        <a:srgbClr val="D55B17"/>
      </a:accent1>
      <a:accent2>
        <a:srgbClr val="E72935"/>
      </a:accent2>
      <a:accent3>
        <a:srgbClr val="C39F23"/>
      </a:accent3>
      <a:accent4>
        <a:srgbClr val="13B3AD"/>
      </a:accent4>
      <a:accent5>
        <a:srgbClr val="299FE7"/>
      </a:accent5>
      <a:accent6>
        <a:srgbClr val="2247D7"/>
      </a:accent6>
      <a:hlink>
        <a:srgbClr val="3F91BF"/>
      </a:hlink>
      <a:folHlink>
        <a:srgbClr val="7F7F7F"/>
      </a:folHlink>
    </a:clrScheme>
    <a:fontScheme name="Slate">
      <a:majorFont>
        <a:latin typeface="Gill Sans MT" panose="02040603050505030304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ill Sans MT" panose="02040603050505030304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ate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0000"/>
                <a:lumMod val="90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hardEdge"/>
          </a:sp3d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lumMod val="80000"/>
              </a:schemeClr>
              <a:schemeClr val="phClr">
                <a:tint val="98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ateVTI" id="{35C4A07C-0176-4A32-9BCB-B016516853F0}" vid="{9B70D35C-BCA8-4715-BB49-8BE54A7FC07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41</Words>
  <Application>Microsoft Office PowerPoint</Application>
  <PresentationFormat>Widescreen</PresentationFormat>
  <Paragraphs>2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Gill Sans MT</vt:lpstr>
      <vt:lpstr>Wingdings 2</vt:lpstr>
      <vt:lpstr>SlateVTI</vt:lpstr>
      <vt:lpstr>think-cell Slide</vt:lpstr>
      <vt:lpstr>Mid-Bootcamp project</vt:lpstr>
      <vt:lpstr>Diagrama de Gant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d-Bootcamp project</dc:title>
  <dc:creator>Enric Mus Catala</dc:creator>
  <cp:lastModifiedBy>Joan Viladomiu Tora</cp:lastModifiedBy>
  <cp:revision>4</cp:revision>
  <dcterms:created xsi:type="dcterms:W3CDTF">2022-11-15T17:29:42Z</dcterms:created>
  <dcterms:modified xsi:type="dcterms:W3CDTF">2022-11-17T15:57:35Z</dcterms:modified>
</cp:coreProperties>
</file>